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7"/>
  </p:notesMasterIdLst>
  <p:sldIdLst>
    <p:sldId id="294" r:id="rId2"/>
    <p:sldId id="292" r:id="rId3"/>
    <p:sldId id="300" r:id="rId4"/>
    <p:sldId id="304" r:id="rId5"/>
    <p:sldId id="305" r:id="rId6"/>
    <p:sldId id="306" r:id="rId7"/>
    <p:sldId id="257" r:id="rId8"/>
    <p:sldId id="301" r:id="rId9"/>
    <p:sldId id="302" r:id="rId10"/>
    <p:sldId id="303" r:id="rId11"/>
    <p:sldId id="310" r:id="rId12"/>
    <p:sldId id="309" r:id="rId13"/>
    <p:sldId id="308" r:id="rId14"/>
    <p:sldId id="299" r:id="rId15"/>
    <p:sldId id="297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38" autoAdjust="0"/>
    <p:restoredTop sz="96713" autoAdjust="0"/>
  </p:normalViewPr>
  <p:slideViewPr>
    <p:cSldViewPr snapToGrid="0">
      <p:cViewPr varScale="1">
        <p:scale>
          <a:sx n="120" d="100"/>
          <a:sy n="120" d="100"/>
        </p:scale>
        <p:origin x="485" y="9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30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79" y="3234441"/>
            <a:ext cx="8808841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3: Clustering and Imputation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k-</a:t>
            </a:r>
            <a:r>
              <a:rPr lang="de-DE" dirty="0" err="1"/>
              <a:t>mean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Imputation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 has denser mapping which can be seen in the clustering. 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highlight>
                  <a:srgbClr val="FFFF00"/>
                </a:highlight>
                <a:latin typeface="+mn-lt"/>
              </a:rPr>
              <a:t>A very noteworthy cluster here is cluster #3 which is tiny compared to the other clusters but still has a relatively high sepsis chance. The same goes for cluster #10 - t</a:t>
            </a:r>
            <a:r>
              <a:rPr lang="en-US" dirty="0">
                <a:highlight>
                  <a:srgbClr val="FFFF00"/>
                </a:highlight>
              </a:rPr>
              <a:t>hat’s not correct</a:t>
            </a:r>
            <a:endParaRPr lang="en-US" sz="1800" dirty="0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00AD1C0-B7FB-451D-AB09-E32393B097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098" y="1256715"/>
            <a:ext cx="5879604" cy="444399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845835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DBSCAN </a:t>
            </a:r>
            <a:r>
              <a:rPr lang="de-DE" dirty="0" err="1"/>
              <a:t>without</a:t>
            </a:r>
            <a:r>
              <a:rPr lang="de-DE" dirty="0"/>
              <a:t> Imputation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28C8C32-06A0-489A-9268-A26FEA055C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4767" y="1123950"/>
            <a:ext cx="6279033" cy="47092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48E3E36-2208-4898-AFA4-07DF43FA11D9}"/>
              </a:ext>
            </a:extLst>
          </p:cNvPr>
          <p:cNvSpPr txBox="1"/>
          <p:nvPr/>
        </p:nvSpPr>
        <p:spPr>
          <a:xfrm>
            <a:off x="838200" y="1256715"/>
            <a:ext cx="37719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DBSCAN </a:t>
            </a:r>
            <a:r>
              <a:rPr lang="en-US" sz="1800" b="1" dirty="0">
                <a:latin typeface="+mn-lt"/>
              </a:rPr>
              <a:t>without interpolation &amp; imputation </a:t>
            </a:r>
            <a:endParaRPr lang="en-US" b="1" dirty="0"/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b="1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Also u</a:t>
            </a:r>
            <a:r>
              <a:rPr lang="en-US" sz="1800" dirty="0">
                <a:latin typeface="+mn-lt"/>
              </a:rPr>
              <a:t>sing </a:t>
            </a:r>
            <a:r>
              <a:rPr lang="en-US" sz="1800" b="1" dirty="0">
                <a:latin typeface="+mn-lt"/>
              </a:rPr>
              <a:t>z-values</a:t>
            </a:r>
            <a:r>
              <a:rPr lang="en-US" sz="1800" dirty="0">
                <a:latin typeface="+mn-lt"/>
              </a:rPr>
              <a:t> for standardization of features</a:t>
            </a:r>
            <a:endParaRPr lang="en-US" sz="1800" dirty="0">
              <a:highlight>
                <a:srgbClr val="FFFF00"/>
              </a:highligh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55036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DBSCAN </a:t>
            </a:r>
            <a:r>
              <a:rPr lang="de-DE" dirty="0" err="1"/>
              <a:t>with</a:t>
            </a:r>
            <a:r>
              <a:rPr lang="de-DE" dirty="0"/>
              <a:t> Imputation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17F6072-33A1-4F2C-AB96-223341026D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6112" y="1142999"/>
            <a:ext cx="6357687" cy="4768265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F5DD1EE-9F76-4CC9-BDEA-780BCAC8E028}"/>
              </a:ext>
            </a:extLst>
          </p:cNvPr>
          <p:cNvSpPr txBox="1"/>
          <p:nvPr/>
        </p:nvSpPr>
        <p:spPr>
          <a:xfrm>
            <a:off x="838200" y="1256715"/>
            <a:ext cx="37719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Epsilon value and minimum of neighboring samples must probably be optimized.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With these parameters there are no clusters found</a:t>
            </a:r>
            <a:endParaRPr lang="en-US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00606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Cluster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CMAP-data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0491B6-0F41-415A-A882-BA28E08730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4450" y="1181100"/>
            <a:ext cx="6146800" cy="46101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2A3E60D-D8A6-4D7E-A091-568685BECC97}"/>
              </a:ext>
            </a:extLst>
          </p:cNvPr>
          <p:cNvSpPr txBox="1"/>
          <p:nvPr/>
        </p:nvSpPr>
        <p:spPr>
          <a:xfrm>
            <a:off x="838200" y="1256715"/>
            <a:ext cx="37719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Clustering of the </a:t>
            </a:r>
            <a:r>
              <a:rPr lang="en-US" dirty="0" err="1"/>
              <a:t>PaCMAP</a:t>
            </a:r>
            <a:r>
              <a:rPr lang="en-US" dirty="0"/>
              <a:t> data leads to very precise clusters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While the interpretation of each cluster is unclear this is helpful to identify interesting subgroups</a:t>
            </a:r>
            <a:endParaRPr lang="en-US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9662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Appl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space-cluster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methods</a:t>
            </a:r>
            <a:r>
              <a:rPr lang="de-DE" sz="2800" dirty="0">
                <a:latin typeface="+mn-lt"/>
              </a:rPr>
              <a:t> 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noProof="0" dirty="0" err="1">
                <a:latin typeface="+mn-lt"/>
              </a:rPr>
              <a:t>Subspace</a:t>
            </a:r>
            <a:r>
              <a:rPr lang="de-DE" sz="2800" noProof="0" dirty="0">
                <a:latin typeface="+mn-lt"/>
              </a:rPr>
              <a:t> Clustering and Imputation</a:t>
            </a: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>
                <a:latin typeface="+mn-lt"/>
              </a:rPr>
              <a:t>Y</a:t>
            </a:r>
            <a:r>
              <a:rPr lang="de-DE" sz="3600" dirty="0" err="1"/>
              <a:t>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9B06663-BCBE-40DB-9222-0039D464CF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36650"/>
            <a:ext cx="5414394" cy="24447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41E27C5-CC8C-4DB4-81B2-034185D7FC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9544" y="1041974"/>
            <a:ext cx="4106411" cy="307980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62B480C-6EC9-4C93-8EF4-D46A8DB7FB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088" y="3727450"/>
            <a:ext cx="4106412" cy="307980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4CB9B4-9B18-40A5-BA53-E07A3E44E2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0" y="3873558"/>
            <a:ext cx="3911600" cy="29337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0FF7E35-C990-4A9B-9E4B-D6BC5784543C}"/>
              </a:ext>
            </a:extLst>
          </p:cNvPr>
          <p:cNvSpPr txBox="1"/>
          <p:nvPr/>
        </p:nvSpPr>
        <p:spPr>
          <a:xfrm>
            <a:off x="5588002" y="3873558"/>
            <a:ext cx="2454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CA on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A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CA1CC82-287A-4810-91EF-0E28D1E92D67}"/>
              </a:ext>
            </a:extLst>
          </p:cNvPr>
          <p:cNvSpPr txBox="1"/>
          <p:nvPr/>
        </p:nvSpPr>
        <p:spPr>
          <a:xfrm>
            <a:off x="1228950" y="3733858"/>
            <a:ext cx="21587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CA </a:t>
            </a:r>
            <a:r>
              <a:rPr lang="de-DE" dirty="0" err="1"/>
              <a:t>vari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610F37D-D62E-40D2-A4A2-F9C0B3E11A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7697" y="4058224"/>
            <a:ext cx="3604956" cy="2703718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99BC6D21-496A-467D-882F-9EB1D32DBA08}"/>
              </a:ext>
            </a:extLst>
          </p:cNvPr>
          <p:cNvSpPr txBox="1"/>
          <p:nvPr/>
        </p:nvSpPr>
        <p:spPr>
          <a:xfrm>
            <a:off x="8859430" y="3735058"/>
            <a:ext cx="28223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Dropped</a:t>
            </a:r>
            <a:r>
              <a:rPr lang="de-DE" dirty="0"/>
              <a:t> out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missing</a:t>
            </a:r>
            <a:r>
              <a:rPr lang="de-DE" dirty="0"/>
              <a:t> &gt;46% Data</a:t>
            </a:r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24697C7-2D04-4BA2-8595-6F4F6EA311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1219486"/>
            <a:ext cx="4056296" cy="304222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C621F91-B996-4CF6-9055-D0ABCA3B81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1775" y="1296028"/>
            <a:ext cx="3263822" cy="29654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2F2E77C5-8507-4484-AC8E-925A2667FA42}"/>
              </a:ext>
            </a:extLst>
          </p:cNvPr>
          <p:cNvSpPr txBox="1"/>
          <p:nvPr/>
        </p:nvSpPr>
        <p:spPr>
          <a:xfrm>
            <a:off x="1231902" y="1123434"/>
            <a:ext cx="14951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SNE on Set A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F47B49B-90B9-4C06-B2AC-FA3C61B27702}"/>
              </a:ext>
            </a:extLst>
          </p:cNvPr>
          <p:cNvSpPr txBox="1"/>
          <p:nvPr/>
        </p:nvSpPr>
        <p:spPr>
          <a:xfrm>
            <a:off x="5420130" y="1129268"/>
            <a:ext cx="1387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DA on Set A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57B4494-A983-43D5-A87B-125FCC6AD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4115" y="4446144"/>
            <a:ext cx="2980266" cy="22352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FDAE43-135B-4FBD-895C-94D14B078621}"/>
              </a:ext>
            </a:extLst>
          </p:cNvPr>
          <p:cNvSpPr txBox="1"/>
          <p:nvPr/>
        </p:nvSpPr>
        <p:spPr>
          <a:xfrm>
            <a:off x="1231902" y="4261478"/>
            <a:ext cx="268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mal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18B4950-9AAE-4876-B290-353F20FFA027}"/>
              </a:ext>
            </a:extLst>
          </p:cNvPr>
          <p:cNvSpPr txBox="1"/>
          <p:nvPr/>
        </p:nvSpPr>
        <p:spPr>
          <a:xfrm>
            <a:off x="7926487" y="1111362"/>
            <a:ext cx="3147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ge</a:t>
            </a:r>
            <a:r>
              <a:rPr lang="de-DE" dirty="0"/>
              <a:t> 35-90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955BB51-BBAA-4AE8-A03A-38054737FB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5017" y="4485500"/>
            <a:ext cx="2927792" cy="2195844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FD84757-2B76-439C-A8BD-9D1CD96202A9}"/>
              </a:ext>
            </a:extLst>
          </p:cNvPr>
          <p:cNvSpPr txBox="1"/>
          <p:nvPr/>
        </p:nvSpPr>
        <p:spPr>
          <a:xfrm>
            <a:off x="4321914" y="4261478"/>
            <a:ext cx="2866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female</a:t>
            </a:r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7297819-AEE2-4DD0-A16F-21DD177576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2103" y="4467005"/>
            <a:ext cx="2977112" cy="223283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157C7848-B217-479E-AEB5-C5AF22E70A30}"/>
              </a:ext>
            </a:extLst>
          </p:cNvPr>
          <p:cNvSpPr txBox="1"/>
          <p:nvPr/>
        </p:nvSpPr>
        <p:spPr>
          <a:xfrm>
            <a:off x="7571699" y="4261478"/>
            <a:ext cx="3147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ge</a:t>
            </a:r>
            <a:r>
              <a:rPr lang="de-DE" dirty="0"/>
              <a:t> 10-35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A2D838CC-FB4E-44E9-8EB5-8407950B3E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7334" y="1454243"/>
            <a:ext cx="3605962" cy="270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01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B4A4AC7-B47A-4F7A-9A53-1F8507FCA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92" y="1184272"/>
            <a:ext cx="11067700" cy="502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7721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C18F5F5-13AE-4BF0-89AE-6314AACD4C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44" y="1281114"/>
            <a:ext cx="11009912" cy="5206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989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EB11099-1AB2-47C6-855F-E77C5D3CB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53" y="1295399"/>
            <a:ext cx="10908894" cy="4800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5594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 – a) </a:t>
            </a:r>
            <a:r>
              <a:rPr lang="de-DE" dirty="0" err="1"/>
              <a:t>Conventional</a:t>
            </a:r>
            <a:r>
              <a:rPr lang="de-DE" dirty="0"/>
              <a:t> Clustering Method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Some clusters are remarkable. For example cluster #4 is rather dense while also having the highest sepsis chance. This is followed by Cluster #10 which is, according to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, also located close to #4.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Bild </a:t>
            </a:r>
            <a:r>
              <a:rPr lang="en-US" dirty="0" err="1">
                <a:highlight>
                  <a:srgbClr val="FFFF00"/>
                </a:highlight>
              </a:rPr>
              <a:t>fehlt</a:t>
            </a:r>
            <a:endParaRPr lang="de-DE" sz="1800" dirty="0">
              <a:highlight>
                <a:srgbClr val="FFFF00"/>
              </a:highligh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 – b) Quality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We've implemented the </a:t>
            </a:r>
            <a:r>
              <a:rPr lang="en-US" sz="1800" b="1" dirty="0">
                <a:latin typeface="+mn-lt"/>
              </a:rPr>
              <a:t>Silhouette Score for k-means </a:t>
            </a:r>
            <a:r>
              <a:rPr lang="en-US" sz="1800" dirty="0">
                <a:latin typeface="+mn-lt"/>
              </a:rPr>
              <a:t>which judges the whole clustering by comparing the distance of a data point and its assigned cluster center towards its distance to the other clusters. Therefore a </a:t>
            </a:r>
            <a:r>
              <a:rPr lang="en-US" sz="1800" dirty="0">
                <a:highlight>
                  <a:srgbClr val="FFFF00"/>
                </a:highlight>
                <a:latin typeface="+mn-lt"/>
              </a:rPr>
              <a:t>low </a:t>
            </a:r>
            <a:r>
              <a:rPr lang="en-US" sz="1800" dirty="0">
                <a:latin typeface="+mn-lt"/>
              </a:rPr>
              <a:t>silhouette score speaks of a good cluster assignmen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The advantage of the </a:t>
            </a:r>
            <a:r>
              <a:rPr lang="en-US" sz="1800" dirty="0" err="1">
                <a:latin typeface="+mn-lt"/>
              </a:rPr>
              <a:t>Silhoutte</a:t>
            </a:r>
            <a:r>
              <a:rPr lang="en-US" sz="1800" dirty="0">
                <a:latin typeface="+mn-lt"/>
              </a:rPr>
              <a:t> Score over the Sum of Squared Errors is that it also takes the </a:t>
            </a:r>
            <a:r>
              <a:rPr lang="en-US" sz="1800" b="1" dirty="0">
                <a:latin typeface="+mn-lt"/>
              </a:rPr>
              <a:t>heterogeneity between clusters </a:t>
            </a:r>
            <a:r>
              <a:rPr lang="en-US" sz="1800" dirty="0">
                <a:latin typeface="+mn-lt"/>
              </a:rPr>
              <a:t>into account. </a:t>
            </a:r>
            <a:r>
              <a:rPr lang="de-DE" dirty="0"/>
              <a:t>SSE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focuss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mogenity</a:t>
            </a:r>
            <a:r>
              <a:rPr lang="de-DE" dirty="0"/>
              <a:t> </a:t>
            </a:r>
            <a:r>
              <a:rPr lang="de-DE" dirty="0" err="1"/>
              <a:t>insi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.</a:t>
            </a:r>
            <a:endParaRPr lang="en-US" sz="1800" dirty="0"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5A1E58C-3580-4512-BAAB-F22547F2B3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9100" y="1371372"/>
            <a:ext cx="6096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4798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 – c) Clustering </a:t>
            </a:r>
            <a:r>
              <a:rPr lang="de-DE" dirty="0" err="1"/>
              <a:t>Subset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The clustering is vastly different as it does not consider the original data point constellation anymore but the one given with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 instead. The clusters are more uniformly sized in the resulting graph and the spikes in the total sepsis cases has disappeared.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highlight>
                  <a:srgbClr val="FFFF00"/>
                </a:highlight>
                <a:latin typeface="+mn-lt"/>
              </a:rPr>
              <a:t>We were supposed to cluster subsets – not the </a:t>
            </a:r>
            <a:r>
              <a:rPr lang="en-US" sz="1800" dirty="0" err="1">
                <a:highlight>
                  <a:srgbClr val="FFFF00"/>
                </a:highlight>
                <a:latin typeface="+mn-lt"/>
              </a:rPr>
              <a:t>pacmap</a:t>
            </a:r>
            <a:r>
              <a:rPr lang="en-US" sz="1800" dirty="0">
                <a:highlight>
                  <a:srgbClr val="FFFF00"/>
                </a:highlight>
                <a:latin typeface="+mn-lt"/>
              </a:rPr>
              <a:t> se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DCC28B-C3ED-48A4-A6DF-246473A5CD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452" y="1256715"/>
            <a:ext cx="6117348" cy="444399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98487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56</Words>
  <Application>Microsoft Office PowerPoint</Application>
  <PresentationFormat>Breitbild</PresentationFormat>
  <Paragraphs>64</Paragraphs>
  <Slides>1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3: Clustering and Imputation  Group 8</vt:lpstr>
      <vt:lpstr>Recap of Last Presentation</vt:lpstr>
      <vt:lpstr>Recap of Last Presentation</vt:lpstr>
      <vt:lpstr>Recap of Last Presentation</vt:lpstr>
      <vt:lpstr>Recap of Last Presentation</vt:lpstr>
      <vt:lpstr>Recap of Last Presentation</vt:lpstr>
      <vt:lpstr>Task 3.1 – a) Conventional Clustering Methods</vt:lpstr>
      <vt:lpstr>Task 3.1 – b) Quality Measures</vt:lpstr>
      <vt:lpstr>Task 3.1 – c) Clustering Subsets</vt:lpstr>
      <vt:lpstr>Task 3.2 – k-means with Imputation</vt:lpstr>
      <vt:lpstr>Task 3.2 – DBSCAN without Imputation</vt:lpstr>
      <vt:lpstr>Task 3.2 – DBSCAN with Imputation</vt:lpstr>
      <vt:lpstr>Task 3.2 – Clustering the PaCMAP-data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93</cp:revision>
  <dcterms:created xsi:type="dcterms:W3CDTF">2021-06-28T09:55:05Z</dcterms:created>
  <dcterms:modified xsi:type="dcterms:W3CDTF">2021-11-30T10:28:25Z</dcterms:modified>
</cp:coreProperties>
</file>